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950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5/04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5/04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5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5 April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n-US" altLang="fr-FR" dirty="0"/>
              <a:t>Take advantage of the latest software functionalities on your equipmen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fr-FR" dirty="0"/>
              <a:t>Matrix HMI SW_v2.12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kumimoji="0" lang="en-US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fficiency, Flexibility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Matrix blower (except S/N </a:t>
            </a:r>
            <a:r>
              <a:rPr lang="fr-FR" sz="800" dirty="0">
                <a:latin typeface="Arial" charset="0"/>
                <a:cs typeface="Arial" charset="0"/>
              </a:rPr>
              <a:t>110001, 110002, 120001)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205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59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mprove SW accessibility &amp; flexibility on the following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Reports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Recipe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Energy monitoring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Decontamination phase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New features (*)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Blowing process (</a:t>
            </a:r>
            <a:r>
              <a:rPr lang="en-US" sz="1200" dirty="0" err="1">
                <a:solidFill>
                  <a:srgbClr val="000000"/>
                </a:solidFill>
              </a:rPr>
              <a:t>Intelliboss</a:t>
            </a:r>
            <a:r>
              <a:rPr lang="en-US" sz="1200" dirty="0">
                <a:solidFill>
                  <a:srgbClr val="000000"/>
                </a:solidFill>
              </a:rPr>
              <a:t>)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Preform feeder controls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Format changeover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*) Depending on the availability of these options on the equipment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According with SW version, the material can vary. As standard supply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MEMORY CARD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SAFE MEMORY 8MB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HARD DRIVE 128GB B&amp;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2F1F98-73DA-404D-8D75-6DE70994961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50" y="4264184"/>
            <a:ext cx="2080849" cy="117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1</TotalTime>
  <Words>113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Take advantage of the latest software functionalities on your equip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9</cp:revision>
  <dcterms:created xsi:type="dcterms:W3CDTF">2018-02-10T17:04:39Z</dcterms:created>
  <dcterms:modified xsi:type="dcterms:W3CDTF">2020-04-15T14:3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